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8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8F-4F1D-BCE2-3B31BF62E39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8F-4F1D-BCE2-3B31BF62E39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08F-4F1D-BCE2-3B31BF62E3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08F-4F1D-BCE2-3B31BF62E3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32-40AA-9413-65BE63A93C7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32-40AA-9413-65BE63A93C7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32-40AA-9413-65BE63A93C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A157A1-D19B-C70E-CDEC-2ED894EFEF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AEFD8C5-00A6-961B-8E50-962FF0AD28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EFD8C5-00A6-961B-8E50-962FF0AD28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8E7A1EEA-77ED-EC16-52E2-FB4F9E8F5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oughnut / Stacked Bar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E3A1DA8-FA3B-38A6-EB4B-67F60ECA3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9ACF709C-D09F-74D1-F598-2E15E9912E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2BEF6DB-3CC6-2BEA-9353-DF2E376797D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BB8F6F8C-B6A3-FD2C-90F4-8CB72FBE03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32">
            <a:extLst>
              <a:ext uri="{FF2B5EF4-FFF2-40B4-BE49-F238E27FC236}">
                <a16:creationId xmlns:a16="http://schemas.microsoft.com/office/drawing/2014/main" id="{C161D71E-B464-6940-2846-1D26B615C038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Chart Placeholder 12">
            <a:extLst>
              <a:ext uri="{FF2B5EF4-FFF2-40B4-BE49-F238E27FC236}">
                <a16:creationId xmlns:a16="http://schemas.microsoft.com/office/drawing/2014/main" id="{27DE5AA6-D07B-AC6D-A828-FAB0F3AB1CBD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214135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5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Doughnut / Stacked 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69</cp:revision>
  <dcterms:created xsi:type="dcterms:W3CDTF">2025-07-09T10:57:17Z</dcterms:created>
  <dcterms:modified xsi:type="dcterms:W3CDTF">2025-10-22T10:10:08Z</dcterms:modified>
  <cp:category/>
</cp:coreProperties>
</file>